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6" r:id="rId3"/>
    <p:sldMasterId id="2147483699" r:id="rId4"/>
    <p:sldMasterId id="2147483712" r:id="rId5"/>
    <p:sldMasterId id="2147483725" r:id="rId6"/>
  </p:sldMasterIdLst>
  <p:notesMasterIdLst>
    <p:notesMasterId r:id="rId8"/>
  </p:notesMasterIdLst>
  <p:sldIdLst>
    <p:sldId id="393" r:id="rId7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evin G Kelly" initials="KGK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249" autoAdjust="0"/>
    <p:restoredTop sz="94629" autoAdjust="0"/>
  </p:normalViewPr>
  <p:slideViewPr>
    <p:cSldViewPr>
      <p:cViewPr varScale="1">
        <p:scale>
          <a:sx n="82" d="100"/>
          <a:sy n="82" d="100"/>
        </p:scale>
        <p:origin x="941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commentAuthors" Target="commentAuthors.xm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9877874-B247-4A88-A359-3C9DF1C39A52}" type="datetimeFigureOut">
              <a:rPr lang="en-US" smtClean="0"/>
              <a:t>4/2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90E00BA-C6DC-4C2B-B189-E4DE1D785E7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4416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lide Image Placeholder 1">
            <a:extLst>
              <a:ext uri="{FF2B5EF4-FFF2-40B4-BE49-F238E27FC236}">
                <a16:creationId xmlns:a16="http://schemas.microsoft.com/office/drawing/2014/main" id="{4E7F97CE-94EA-4DE1-B2F4-5522A7895BC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1" name="Notes Placeholder 2">
            <a:extLst>
              <a:ext uri="{FF2B5EF4-FFF2-40B4-BE49-F238E27FC236}">
                <a16:creationId xmlns:a16="http://schemas.microsoft.com/office/drawing/2014/main" id="{503B2E97-5808-4F08-BB06-D92F7957C1D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</a:endParaRPr>
          </a:p>
        </p:txBody>
      </p:sp>
      <p:sp>
        <p:nvSpPr>
          <p:cNvPr id="53252" name="Slide Number Placeholder 3">
            <a:extLst>
              <a:ext uri="{FF2B5EF4-FFF2-40B4-BE49-F238E27FC236}">
                <a16:creationId xmlns:a16="http://schemas.microsoft.com/office/drawing/2014/main" id="{CD66ECEC-21F4-407D-9322-2595E6DB16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02EF2CCA-FDCD-4C03-884F-84C81EADCBD1}" type="slidenum">
              <a:rPr lang="en-US" altLang="en-US" sz="1200" smtClean="0"/>
              <a:pPr/>
              <a:t>1</a:t>
            </a:fld>
            <a:endParaRPr lang="en-US" altLang="en-US" sz="1200" dirty="0"/>
          </a:p>
        </p:txBody>
      </p:sp>
    </p:spTree>
    <p:extLst>
      <p:ext uri="{BB962C8B-B14F-4D97-AF65-F5344CB8AC3E}">
        <p14:creationId xmlns:p14="http://schemas.microsoft.com/office/powerpoint/2010/main" val="516450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84" name="Rectangle 8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57150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1D1757"/>
              </a:solidFill>
            </a:endParaRPr>
          </a:p>
        </p:txBody>
      </p:sp>
      <p:sp>
        <p:nvSpPr>
          <p:cNvPr id="101385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820863"/>
            <a:ext cx="7940675" cy="5191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pic>
        <p:nvPicPr>
          <p:cNvPr id="101388" name="Picture 12" descr="PPT_bar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60579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420" name="Rectangle 4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90550" y="5029200"/>
            <a:ext cx="7943850" cy="39687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01423" name="Picture 47" descr="NG_HWHFY_whit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69140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B76BC6D-1257-4609-9815-A67A5096FC1F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0418B0-CFC0-4A55-8CEC-D3763118460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4106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6388" y="800100"/>
            <a:ext cx="2027237" cy="4991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1500" y="800100"/>
            <a:ext cx="5932488" cy="4991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B2E9592-4881-43B1-9BA7-2AEB2F553EE0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807FB97-8F75-4D44-BACD-055CC6EA9161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9340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800100"/>
            <a:ext cx="5981700" cy="5191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5795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58FCFC59-5AFB-47A4-9970-1C4252AF52F9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57950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781800" y="6496050"/>
            <a:ext cx="2133600" cy="361950"/>
          </a:xfrm>
        </p:spPr>
        <p:txBody>
          <a:bodyPr/>
          <a:lstStyle>
            <a:lvl1pPr>
              <a:defRPr/>
            </a:lvl1pPr>
          </a:lstStyle>
          <a:p>
            <a:fld id="{2AC6B8DB-D1FD-44A0-AD71-FA6DEE142C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17467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84" name="Rectangle 8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57150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1D1757"/>
              </a:solidFill>
            </a:endParaRPr>
          </a:p>
        </p:txBody>
      </p:sp>
      <p:sp>
        <p:nvSpPr>
          <p:cNvPr id="101385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820863"/>
            <a:ext cx="7940675" cy="5191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pic>
        <p:nvPicPr>
          <p:cNvPr id="101388" name="Picture 12" descr="PPT_bar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60579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420" name="Rectangle 4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90550" y="5029200"/>
            <a:ext cx="7943850" cy="39687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01423" name="Picture 47" descr="NG_HWHFY_whit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437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46FFB97-E91C-47D8-AD62-7B4EBD6247A6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0A1AB70-42FC-4169-B87A-C571FE3ED30B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3594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EA444D4-8874-4012-818A-4994BD62238B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8F82F5-ED9D-4973-A3E1-E03BB0044DE9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844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776C9FA-B38F-4BD3-B4E8-7B5F686B35F4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2AA7E9-81F4-4961-AAC6-A080380BE0D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623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554073B-1298-4E7D-A996-9DB5E8724C7A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540A94-1AD2-4A28-8FFC-7023722E976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79601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9C17E8B-28F8-4082-80A9-561267525BB7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6FD4F9-7EDB-4060-BA86-248B4953EEC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14765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551CD15-7004-41C8-A3C9-8A79EDAD4C9C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BB50DE-BC81-477B-846D-19DCAF23890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71836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46FFB97-E91C-47D8-AD62-7B4EBD6247A6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0A1AB70-42FC-4169-B87A-C571FE3ED30B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8670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F282651-C5BF-4070-928B-69E7B1B154AF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1908D3-C51B-429D-8581-7B40A227F19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5301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384FC98-915F-4F78-827E-0054DE3210AF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F337F1-4C4F-4754-A7B6-7EA4B48ED67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4254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B76BC6D-1257-4609-9815-A67A5096FC1F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0418B0-CFC0-4A55-8CEC-D3763118460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3315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6388" y="800100"/>
            <a:ext cx="2027237" cy="4991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1500" y="800100"/>
            <a:ext cx="5932488" cy="4991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B2E9592-4881-43B1-9BA7-2AEB2F553EE0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807FB97-8F75-4D44-BACD-055CC6EA9161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8859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800100"/>
            <a:ext cx="5981700" cy="5191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5795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58FCFC59-5AFB-47A4-9970-1C4252AF52F9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57950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781800" y="6496050"/>
            <a:ext cx="2133600" cy="361950"/>
          </a:xfrm>
        </p:spPr>
        <p:txBody>
          <a:bodyPr/>
          <a:lstStyle>
            <a:lvl1pPr>
              <a:defRPr/>
            </a:lvl1pPr>
          </a:lstStyle>
          <a:p>
            <a:fld id="{2AC6B8DB-D1FD-44A0-AD71-FA6DEE142C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6404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84" name="Rectangle 8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57150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1D1757"/>
              </a:solidFill>
            </a:endParaRPr>
          </a:p>
        </p:txBody>
      </p:sp>
      <p:sp>
        <p:nvSpPr>
          <p:cNvPr id="101385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820863"/>
            <a:ext cx="7940675" cy="5191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pic>
        <p:nvPicPr>
          <p:cNvPr id="101388" name="Picture 12" descr="PPT_bar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60579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420" name="Rectangle 4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90550" y="5029200"/>
            <a:ext cx="7943850" cy="39687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01423" name="Picture 47" descr="NG_HWHFY_whit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39983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46FFB97-E91C-47D8-AD62-7B4EBD6247A6}" type="datetime1">
              <a:rPr lang="en-US">
                <a:solidFill>
                  <a:srgbClr val="000000"/>
                </a:solidFill>
              </a:rPr>
              <a:pPr/>
              <a:t>4/23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0A1AB70-42FC-4169-B87A-C571FE3ED30B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0482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EA444D4-8874-4012-818A-4994BD62238B}" type="datetime1">
              <a:rPr lang="en-US">
                <a:solidFill>
                  <a:srgbClr val="000000"/>
                </a:solidFill>
              </a:rPr>
              <a:pPr/>
              <a:t>4/23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8F82F5-ED9D-4973-A3E1-E03BB0044DE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0275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776C9FA-B38F-4BD3-B4E8-7B5F686B35F4}" type="datetime1">
              <a:rPr lang="en-US">
                <a:solidFill>
                  <a:srgbClr val="000000"/>
                </a:solidFill>
              </a:rPr>
              <a:pPr/>
              <a:t>4/23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2AA7E9-81F4-4961-AAC6-A080380BE0D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8711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554073B-1298-4E7D-A996-9DB5E8724C7A}" type="datetime1">
              <a:rPr lang="en-US">
                <a:solidFill>
                  <a:srgbClr val="000000"/>
                </a:solidFill>
              </a:rPr>
              <a:pPr/>
              <a:t>4/23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540A94-1AD2-4A28-8FFC-7023722E976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9517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EA444D4-8874-4012-818A-4994BD62238B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8F82F5-ED9D-4973-A3E1-E03BB0044DE9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9253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9C17E8B-28F8-4082-80A9-561267525BB7}" type="datetime1">
              <a:rPr lang="en-US">
                <a:solidFill>
                  <a:srgbClr val="000000"/>
                </a:solidFill>
              </a:rPr>
              <a:pPr/>
              <a:t>4/23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6FD4F9-7EDB-4060-BA86-248B4953EEC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0482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551CD15-7004-41C8-A3C9-8A79EDAD4C9C}" type="datetime1">
              <a:rPr lang="en-US">
                <a:solidFill>
                  <a:srgbClr val="000000"/>
                </a:solidFill>
              </a:rPr>
              <a:pPr/>
              <a:t>4/23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BB50DE-BC81-477B-846D-19DCAF238902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7027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F282651-C5BF-4070-928B-69E7B1B154AF}" type="datetime1">
              <a:rPr lang="en-US">
                <a:solidFill>
                  <a:srgbClr val="000000"/>
                </a:solidFill>
              </a:rPr>
              <a:pPr/>
              <a:t>4/23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1908D3-C51B-429D-8581-7B40A227F192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9418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384FC98-915F-4F78-827E-0054DE3210AF}" type="datetime1">
              <a:rPr lang="en-US">
                <a:solidFill>
                  <a:srgbClr val="000000"/>
                </a:solidFill>
              </a:rPr>
              <a:pPr/>
              <a:t>4/23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F337F1-4C4F-4754-A7B6-7EA4B48ED67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0062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B76BC6D-1257-4609-9815-A67A5096FC1F}" type="datetime1">
              <a:rPr lang="en-US">
                <a:solidFill>
                  <a:srgbClr val="000000"/>
                </a:solidFill>
              </a:rPr>
              <a:pPr/>
              <a:t>4/23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0418B0-CFC0-4A55-8CEC-D3763118460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4305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6388" y="800100"/>
            <a:ext cx="2027237" cy="4991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1500" y="800100"/>
            <a:ext cx="5932488" cy="4991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B2E9592-4881-43B1-9BA7-2AEB2F553EE0}" type="datetime1">
              <a:rPr lang="en-US">
                <a:solidFill>
                  <a:srgbClr val="000000"/>
                </a:solidFill>
              </a:rPr>
              <a:pPr/>
              <a:t>4/23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807FB97-8F75-4D44-BACD-055CC6EA9161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23371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800100"/>
            <a:ext cx="5981700" cy="5191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5795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58FCFC59-5AFB-47A4-9970-1C4252AF52F9}" type="datetime1">
              <a:rPr lang="en-US">
                <a:solidFill>
                  <a:srgbClr val="000000"/>
                </a:solidFill>
              </a:rPr>
              <a:pPr/>
              <a:t>4/23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57950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781800" y="6496050"/>
            <a:ext cx="2133600" cy="361950"/>
          </a:xfrm>
        </p:spPr>
        <p:txBody>
          <a:bodyPr/>
          <a:lstStyle>
            <a:lvl1pPr>
              <a:defRPr/>
            </a:lvl1pPr>
          </a:lstStyle>
          <a:p>
            <a:fld id="{2AC6B8DB-D1FD-44A0-AD71-FA6DEE142C7C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8038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84" name="Rectangle 8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57150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1D1757"/>
              </a:solidFill>
            </a:endParaRPr>
          </a:p>
        </p:txBody>
      </p:sp>
      <p:sp>
        <p:nvSpPr>
          <p:cNvPr id="101385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820863"/>
            <a:ext cx="7940675" cy="5191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pic>
        <p:nvPicPr>
          <p:cNvPr id="101388" name="Picture 12" descr="PPT_bar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60579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420" name="Rectangle 4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90550" y="5029200"/>
            <a:ext cx="7943850" cy="39687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01423" name="Picture 47" descr="NG_HWHFY_whit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75129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46FFB97-E91C-47D8-AD62-7B4EBD6247A6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0A1AB70-42FC-4169-B87A-C571FE3ED30B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7115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EA444D4-8874-4012-818A-4994BD62238B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8F82F5-ED9D-4973-A3E1-E03BB0044DE9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0696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776C9FA-B38F-4BD3-B4E8-7B5F686B35F4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2AA7E9-81F4-4961-AAC6-A080380BE0D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665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776C9FA-B38F-4BD3-B4E8-7B5F686B35F4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2AA7E9-81F4-4961-AAC6-A080380BE0D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48344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554073B-1298-4E7D-A996-9DB5E8724C7A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540A94-1AD2-4A28-8FFC-7023722E976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45936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9C17E8B-28F8-4082-80A9-561267525BB7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6FD4F9-7EDB-4060-BA86-248B4953EEC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63239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551CD15-7004-41C8-A3C9-8A79EDAD4C9C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BB50DE-BC81-477B-846D-19DCAF23890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6555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F282651-C5BF-4070-928B-69E7B1B154AF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1908D3-C51B-429D-8581-7B40A227F19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4708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384FC98-915F-4F78-827E-0054DE3210AF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F337F1-4C4F-4754-A7B6-7EA4B48ED67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64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B76BC6D-1257-4609-9815-A67A5096FC1F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0418B0-CFC0-4A55-8CEC-D3763118460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3541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6388" y="800100"/>
            <a:ext cx="2027237" cy="4991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1500" y="800100"/>
            <a:ext cx="5932488" cy="4991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B2E9592-4881-43B1-9BA7-2AEB2F553EE0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807FB97-8F75-4D44-BACD-055CC6EA9161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4246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800100"/>
            <a:ext cx="5981700" cy="5191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5795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58FCFC59-5AFB-47A4-9970-1C4252AF52F9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57950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781800" y="6496050"/>
            <a:ext cx="2133600" cy="361950"/>
          </a:xfrm>
        </p:spPr>
        <p:txBody>
          <a:bodyPr/>
          <a:lstStyle>
            <a:lvl1pPr>
              <a:defRPr/>
            </a:lvl1pPr>
          </a:lstStyle>
          <a:p>
            <a:fld id="{2AC6B8DB-D1FD-44A0-AD71-FA6DEE142C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8103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57150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1D1757"/>
              </a:solidFill>
            </a:endParaRPr>
          </a:p>
        </p:txBody>
      </p:sp>
      <p:pic>
        <p:nvPicPr>
          <p:cNvPr id="5" name="Picture 12" descr="PPT_bar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6057900"/>
            <a:ext cx="89154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7" descr="NG_HWHFY_whit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1385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820863"/>
            <a:ext cx="7940675" cy="519112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1420" name="Rectangle 4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90550" y="5029200"/>
            <a:ext cx="7943850" cy="396875"/>
          </a:xfrm>
        </p:spPr>
        <p:txBody>
          <a:bodyPr>
            <a:sp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89219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554073B-1298-4E7D-A996-9DB5E8724C7A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540A94-1AD2-4A28-8FFC-7023722E976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44215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02AFB-4A0C-447A-BC66-58459E5EFB02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86DC5B-D061-462F-9729-70766F3742C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09744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CEDA3C-2429-4635-A1E3-577C433E8FBB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35F831-CF05-46EA-8C9C-67F1D377469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89888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57A5B6-0314-4A33-86EF-71185EA296DE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3C9DE7-095A-4BF5-9C03-EA88E8A366C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9066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7A4B3-45AD-4C87-91E5-2919CE75BA4E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CA2621-8102-47C6-8218-A469AF81139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94874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FE53E1-F666-4654-A24B-634B88492D0F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67D1F6-EE08-468B-B95E-54FB2E66D87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1393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29C4FC-F19B-4E9B-9E77-46FFC56F185D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3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ADA0BF-9A45-48D3-94E5-ADD6D5B756E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10568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74A9F9-A649-4AF7-A78E-CA91F2916D15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9FCF41-16D3-44AA-9337-FB0F29B9BA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38629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2DA87F-C414-4027-AF77-2E5EC0CAB1F1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A0C433-C22E-4547-BF72-0E5CF343216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83152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67670A-8AE2-4E96-B24D-1C1A0A2D4595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1C6301-2DB6-4FAF-91D9-82B44C01396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2852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6388" y="800100"/>
            <a:ext cx="2027237" cy="4991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1500" y="800100"/>
            <a:ext cx="5932488" cy="4991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9E7F38-CD34-4EA7-A933-F0891283A24C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66CA-03A1-4D1B-A023-202410B943C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76892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9C17E8B-28F8-4082-80A9-561267525BB7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6FD4F9-7EDB-4060-BA86-248B4953EEC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00134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800100"/>
            <a:ext cx="5981700" cy="5191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522BEE-F294-4B34-93DC-EB9E5ECD630E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9C26C8-8D68-4A73-8185-093A57FB918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5210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3"/>
          <p:cNvSpPr>
            <a:spLocks/>
          </p:cNvSpPr>
          <p:nvPr/>
        </p:nvSpPr>
        <p:spPr bwMode="auto">
          <a:xfrm>
            <a:off x="0" y="0"/>
            <a:ext cx="9159875" cy="24003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368"/>
              </a:cxn>
              <a:cxn ang="0">
                <a:pos x="1008" y="1368"/>
              </a:cxn>
              <a:cxn ang="0">
                <a:pos x="1152" y="1512"/>
              </a:cxn>
              <a:cxn ang="0">
                <a:pos x="1296" y="1368"/>
              </a:cxn>
              <a:cxn ang="0">
                <a:pos x="5760" y="1368"/>
              </a:cxn>
              <a:cxn ang="0">
                <a:pos x="5760" y="0"/>
              </a:cxn>
              <a:cxn ang="0">
                <a:pos x="0" y="0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0" name="Picture 44" descr="National_Grid_logo_blu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10375" y="342900"/>
            <a:ext cx="1830388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2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279525"/>
            <a:ext cx="8043863" cy="639763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02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0" y="5164138"/>
            <a:ext cx="8043863" cy="503237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073137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836712"/>
            <a:ext cx="8525123" cy="519113"/>
          </a:xfrm>
        </p:spPr>
        <p:txBody>
          <a:bodyPr/>
          <a:lstStyle>
            <a:lvl1pPr>
              <a:defRPr baseline="0"/>
            </a:lvl1pPr>
          </a:lstStyle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D10D39-1FC6-4B3C-99A6-B4C86BA24B70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B104E9-2A9E-419B-BD20-69AE4C93827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Rectangle 68"/>
          <p:cNvSpPr>
            <a:spLocks noChangeArrowheads="1"/>
          </p:cNvSpPr>
          <p:nvPr userDrawn="1"/>
        </p:nvSpPr>
        <p:spPr bwMode="auto">
          <a:xfrm>
            <a:off x="358775" y="6669940"/>
            <a:ext cx="84264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4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800" i="1" dirty="0">
                <a:solidFill>
                  <a:srgbClr val="000000"/>
                </a:solidFill>
              </a:rPr>
              <a:t>Note: Draft working documents developed for discussion purposes only</a:t>
            </a:r>
            <a:endParaRPr lang="en-US" alt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31287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836712"/>
            <a:ext cx="8093075" cy="519113"/>
          </a:xfrm>
        </p:spPr>
        <p:txBody>
          <a:bodyPr/>
          <a:lstStyle>
            <a:lvl1pPr>
              <a:defRPr baseline="0"/>
            </a:lvl1pPr>
          </a:lstStyle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D10D39-1FC6-4B3C-99A6-B4C86BA24B70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B104E9-2A9E-419B-BD20-69AE4C93827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9764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574CD0-C560-4981-8FFD-1CB271B917B3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B7CBFD-488F-442C-94A9-F6EA8F6433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1278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52723B-0620-45CB-88A6-E174021E1CC6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66831E-6FE0-4B26-89C7-7D95494674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30384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0E06C3-A64C-4C13-9320-7F83B9280C83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BD45F4-407D-4ACF-8E1A-FE5AAD0B9E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00148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662916-A8B0-48DC-8E29-86E59CB39476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DA365A-5E05-41D8-BFB1-46D781F2EA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51078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53787B-935E-4A04-80F7-6E00B8687730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972AF2-9597-47E8-A4D3-FF7AE6518F1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57890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29F031-CA87-4509-B4C3-6BB6D6A2E709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DCCA77-E0F9-4C07-8C4F-25FD71C2606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383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551CD15-7004-41C8-A3C9-8A79EDAD4C9C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BB50DE-BC81-477B-846D-19DCAF23890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413625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B5C84B-D993-4F95-9B1B-EBFC452A19FC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5FB2FC-E0CA-4A90-979F-7A17DF4B714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17860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9B46F1-9AC4-4412-A8A3-C7D9F2E54092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CD78B1-DB91-45C9-A707-06AF19EA60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8233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25" y="762000"/>
            <a:ext cx="2022475" cy="5372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3725" y="762000"/>
            <a:ext cx="5918200" cy="5372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6E6343-E6E1-4877-8FAD-EFCDD61B9609}" type="datetime1">
              <a:rPr lang="en-US"/>
              <a:pPr>
                <a:defRPr/>
              </a:pPr>
              <a:t>4/23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F5490A-46B7-4D9D-AE18-92942E9D640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01752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6053021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87594" y="228805"/>
            <a:ext cx="8598310" cy="893534"/>
          </a:xfrm>
        </p:spPr>
        <p:txBody>
          <a:bodyPr>
            <a:normAutofit/>
          </a:bodyPr>
          <a:lstStyle>
            <a:lvl1pPr>
              <a:defRPr sz="2800" b="0" i="0">
                <a:solidFill>
                  <a:schemeClr val="accent1"/>
                </a:solidFill>
                <a:latin typeface="+mj-lt"/>
                <a:ea typeface="Century Gothic Bold" charset="0"/>
                <a:cs typeface="Century Gothic Bold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87594" y="6623669"/>
            <a:ext cx="8401050" cy="10777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386300" y="1283109"/>
            <a:ext cx="64008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87593" y="1283109"/>
            <a:ext cx="859923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8635180" y="6553200"/>
            <a:ext cx="316447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1" i="0" kern="1200">
                <a:solidFill>
                  <a:schemeClr val="accent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DD62275-A945-5F43-BB60-19F5DE854C5B}" type="slidenum">
              <a:rPr lang="en-US" smtClean="0">
                <a:solidFill>
                  <a:srgbClr val="009DDA"/>
                </a:solidFill>
                <a:latin typeface="Century Gothic Bold" charset="0"/>
                <a:ea typeface="Century Gothic Bold" charset="0"/>
                <a:cs typeface="Century Gothic Bold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9DDA"/>
              </a:solidFill>
              <a:latin typeface="Century Gothic Bold" charset="0"/>
              <a:ea typeface="Century Gothic Bold" charset="0"/>
              <a:cs typeface="Century Gothic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76244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F282651-C5BF-4070-928B-69E7B1B154AF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1908D3-C51B-429D-8581-7B40A227F19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0606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384FC98-915F-4F78-827E-0054DE3210AF}" type="datetime1">
              <a:rPr lang="en-US"/>
              <a:pPr/>
              <a:t>4/2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F337F1-4C4F-4754-A7B6-7EA4B48ED67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0219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vmlDrawing" Target="../drawings/vmlDrawing4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3.wmf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69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45795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75E7D7E-AAB3-45FE-A03E-344B9C787000}" type="datetime1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3/2019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57950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96050"/>
            <a:ext cx="21336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8AC6B99-FE21-4377-A2D4-9D8A1EC31267}" type="slidenum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905000"/>
            <a:ext cx="80899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100373" name="Base" hidden="1"/>
          <p:cNvGraphicFramePr>
            <a:graphicFrameLocks/>
          </p:cNvGraphicFramePr>
          <p:nvPr userDrawn="1"/>
        </p:nvGraphicFramePr>
        <p:xfrm>
          <a:off x="1524000" y="1397000"/>
          <a:ext cx="6096000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2" r:id="rId15" imgW="0" imgH="0" progId="PowerPoint.Show.8">
                  <p:embed/>
                </p:oleObj>
              </mc:Choice>
              <mc:Fallback>
                <p:oleObj r:id="rId15" imgW="0" imgH="0" progId="PowerPoint.Show.8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1397000"/>
                        <a:ext cx="6096000" cy="4064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374" name="Rectangle 22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13716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10037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71500" y="800100"/>
            <a:ext cx="59817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00376" name="Picture 24" descr="PPT_bar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59182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378" name="Picture 26" descr="NG_HWHFY_white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3475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</a:defRPr>
      </a:lvl2pPr>
      <a:lvl3pPr marL="1143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</a:defRPr>
      </a:lvl3pPr>
      <a:lvl4pPr marL="1600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+mn-ea"/>
        </a:defRPr>
      </a:lvl4pPr>
      <a:lvl5pPr marL="20574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69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45795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75E7D7E-AAB3-45FE-A03E-344B9C787000}" type="datetime1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3/2019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57950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96050"/>
            <a:ext cx="21336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8AC6B99-FE21-4377-A2D4-9D8A1EC31267}" type="slidenum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905000"/>
            <a:ext cx="80899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100373" name="Base" hidden="1"/>
          <p:cNvGraphicFramePr>
            <a:graphicFrameLocks/>
          </p:cNvGraphicFramePr>
          <p:nvPr userDrawn="1"/>
        </p:nvGraphicFramePr>
        <p:xfrm>
          <a:off x="1524000" y="1397000"/>
          <a:ext cx="6096000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6" r:id="rId15" imgW="0" imgH="0" progId="PowerPoint.Show.8">
                  <p:embed/>
                </p:oleObj>
              </mc:Choice>
              <mc:Fallback>
                <p:oleObj r:id="rId15" imgW="0" imgH="0" progId="PowerPoint.Show.8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1397000"/>
                        <a:ext cx="6096000" cy="4064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374" name="Rectangle 22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13716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10037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71500" y="800100"/>
            <a:ext cx="59817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00376" name="Picture 24" descr="PPT_bar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59182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378" name="Picture 26" descr="NG_HWHFY_white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7462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</a:defRPr>
      </a:lvl2pPr>
      <a:lvl3pPr marL="1143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</a:defRPr>
      </a:lvl3pPr>
      <a:lvl4pPr marL="1600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+mn-ea"/>
        </a:defRPr>
      </a:lvl4pPr>
      <a:lvl5pPr marL="20574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69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45795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75E7D7E-AAB3-45FE-A03E-344B9C787000}" type="datetime1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3/2019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57950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96050"/>
            <a:ext cx="21336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8AC6B99-FE21-4377-A2D4-9D8A1EC31267}" type="slidenum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905000"/>
            <a:ext cx="80899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100373" name="Base" hidden="1"/>
          <p:cNvGraphicFramePr>
            <a:graphicFrameLocks/>
          </p:cNvGraphicFramePr>
          <p:nvPr userDrawn="1"/>
        </p:nvGraphicFramePr>
        <p:xfrm>
          <a:off x="1524000" y="1397000"/>
          <a:ext cx="6096000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0" r:id="rId15" imgW="0" imgH="0" progId="PowerPoint.Show.8">
                  <p:embed/>
                </p:oleObj>
              </mc:Choice>
              <mc:Fallback>
                <p:oleObj r:id="rId15" imgW="0" imgH="0" progId="PowerPoint.Show.8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1397000"/>
                        <a:ext cx="6096000" cy="4064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374" name="Rectangle 22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13716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10037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71500" y="800100"/>
            <a:ext cx="59817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00376" name="Picture 24" descr="PPT_bar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59182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378" name="Picture 26" descr="NG_HWHFY_white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448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</a:defRPr>
      </a:lvl2pPr>
      <a:lvl3pPr marL="1143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</a:defRPr>
      </a:lvl3pPr>
      <a:lvl4pPr marL="1600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+mn-ea"/>
        </a:defRPr>
      </a:lvl4pPr>
      <a:lvl5pPr marL="20574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69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45795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75E7D7E-AAB3-45FE-A03E-344B9C787000}" type="datetime1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3/2019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57950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96050"/>
            <a:ext cx="21336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8AC6B99-FE21-4377-A2D4-9D8A1EC31267}" type="slidenum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905000"/>
            <a:ext cx="80899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100373" name="Base" hidden="1"/>
          <p:cNvGraphicFramePr>
            <a:graphicFrameLocks/>
          </p:cNvGraphicFramePr>
          <p:nvPr userDrawn="1"/>
        </p:nvGraphicFramePr>
        <p:xfrm>
          <a:off x="1524000" y="1397000"/>
          <a:ext cx="6096000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8" r:id="rId15" imgW="0" imgH="0" progId="PowerPoint.Show.8">
                  <p:embed/>
                </p:oleObj>
              </mc:Choice>
              <mc:Fallback>
                <p:oleObj r:id="rId15" imgW="0" imgH="0" progId="PowerPoint.Show.8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1397000"/>
                        <a:ext cx="6096000" cy="4064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374" name="Rectangle 22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13716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10037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71500" y="800100"/>
            <a:ext cx="59817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00376" name="Picture 24" descr="PPT_bar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59182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378" name="Picture 26" descr="NG_HWHFY_white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4581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</a:defRPr>
      </a:lvl2pPr>
      <a:lvl3pPr marL="1143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</a:defRPr>
      </a:lvl3pPr>
      <a:lvl4pPr marL="1600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+mn-ea"/>
        </a:defRPr>
      </a:lvl4pPr>
      <a:lvl5pPr marL="20574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69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457950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  <a:ea typeface="ＭＳ Ｐゴシック" pitchFamily="96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C0669B8-5C7B-4482-8E0D-F1E207890B66}" type="datetime1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/23/2019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57950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96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96050"/>
            <a:ext cx="21336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ＭＳ Ｐゴシック" pitchFamily="96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601F158-C8CA-40D6-A2A3-9FEDA0CBA155}" type="slidenum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20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905000"/>
            <a:ext cx="80899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2054" name="Base" hidden="1"/>
          <p:cNvGraphicFramePr>
            <a:graphicFrameLocks/>
          </p:cNvGraphicFramePr>
          <p:nvPr userDrawn="1"/>
        </p:nvGraphicFramePr>
        <p:xfrm>
          <a:off x="1524000" y="1397000"/>
          <a:ext cx="6096000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7" r:id="rId15" imgW="0" imgH="0" progId="PowerPoint.Show.8">
                  <p:embed/>
                </p:oleObj>
              </mc:Choice>
              <mc:Fallback>
                <p:oleObj r:id="rId15" imgW="0" imgH="0" progId="PowerPoint.Show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1397000"/>
                        <a:ext cx="6096000" cy="4064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5" name="Rectangle 22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13716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205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71500" y="800100"/>
            <a:ext cx="59817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2057" name="Picture 24" descr="PPT_bar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5918200"/>
            <a:ext cx="89154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8" name="Picture 26" descr="NG_HWHFY_white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8735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96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96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96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96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96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96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96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96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 b="1" smtClean="0">
                <a:solidFill>
                  <a:srgbClr val="0079C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A1053E2-8000-4E63-B7C9-578183E9C04B}" type="datetime1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/23/2019</a:t>
            </a:fld>
            <a:endParaRPr lang="en-US" dirty="0"/>
          </a:p>
        </p:txBody>
      </p:sp>
      <p:sp>
        <p:nvSpPr>
          <p:cNvPr id="327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1" smtClean="0">
                <a:solidFill>
                  <a:srgbClr val="0079C1"/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277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381750"/>
            <a:ext cx="21336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1" smtClean="0">
                <a:solidFill>
                  <a:srgbClr val="0079C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8631AC4-A3BB-4F30-A59E-F0BF1FB2B667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251520" y="1384300"/>
            <a:ext cx="8640960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51520" y="819448"/>
            <a:ext cx="809307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32" name="Picture 27" descr="National_Grid_logo_blue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6810375" y="121295"/>
            <a:ext cx="1830388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86834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79C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/>
          <a:cs typeface="ＭＳ Ｐゴシック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4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Vrinda" panose="020B0502040204020203" pitchFamily="34" charset="0"/>
        <a:buChar char="-"/>
        <a:defRPr sz="14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4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4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4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3429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itle 1">
            <a:extLst>
              <a:ext uri="{FF2B5EF4-FFF2-40B4-BE49-F238E27FC236}">
                <a16:creationId xmlns:a16="http://schemas.microsoft.com/office/drawing/2014/main" id="{EF007AC9-19E5-4F57-A5F1-FE5BFF507BA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32299" y="938480"/>
            <a:ext cx="6409266" cy="1323439"/>
          </a:xfrm>
        </p:spPr>
        <p:txBody>
          <a:bodyPr/>
          <a:lstStyle/>
          <a:p>
            <a:r>
              <a:rPr lang="en-US" sz="2400" dirty="0"/>
              <a:t>Construction Queue</a:t>
            </a:r>
            <a:br>
              <a:rPr lang="en-US" sz="2400" dirty="0"/>
            </a:br>
            <a:br>
              <a:rPr lang="en-US" dirty="0"/>
            </a:br>
            <a:endParaRPr lang="en-US" dirty="0">
              <a:effectLst/>
            </a:endParaRPr>
          </a:p>
        </p:txBody>
      </p:sp>
      <p:sp>
        <p:nvSpPr>
          <p:cNvPr id="52227" name="Content Placeholder 2">
            <a:extLst>
              <a:ext uri="{FF2B5EF4-FFF2-40B4-BE49-F238E27FC236}">
                <a16:creationId xmlns:a16="http://schemas.microsoft.com/office/drawing/2014/main" id="{EB440420-76E8-45D5-83A2-2278D0AAB75A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228600" y="1600200"/>
            <a:ext cx="8610600" cy="4419600"/>
          </a:xfrm>
        </p:spPr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AF5D7E1-642F-4073-9F00-9487248CAC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1361420"/>
              </p:ext>
            </p:extLst>
          </p:nvPr>
        </p:nvGraphicFramePr>
        <p:xfrm>
          <a:off x="228600" y="2198471"/>
          <a:ext cx="8610600" cy="3344330"/>
        </p:xfrm>
        <a:graphic>
          <a:graphicData uri="http://schemas.openxmlformats.org/drawingml/2006/table">
            <a:tbl>
              <a:tblPr/>
              <a:tblGrid>
                <a:gridCol w="1062783">
                  <a:extLst>
                    <a:ext uri="{9D8B030D-6E8A-4147-A177-3AD203B41FA5}">
                      <a16:colId xmlns:a16="http://schemas.microsoft.com/office/drawing/2014/main" val="1258596570"/>
                    </a:ext>
                  </a:extLst>
                </a:gridCol>
                <a:gridCol w="755756">
                  <a:extLst>
                    <a:ext uri="{9D8B030D-6E8A-4147-A177-3AD203B41FA5}">
                      <a16:colId xmlns:a16="http://schemas.microsoft.com/office/drawing/2014/main" val="3701240585"/>
                    </a:ext>
                  </a:extLst>
                </a:gridCol>
                <a:gridCol w="936823">
                  <a:extLst>
                    <a:ext uri="{9D8B030D-6E8A-4147-A177-3AD203B41FA5}">
                      <a16:colId xmlns:a16="http://schemas.microsoft.com/office/drawing/2014/main" val="1957788393"/>
                    </a:ext>
                  </a:extLst>
                </a:gridCol>
                <a:gridCol w="1054638">
                  <a:extLst>
                    <a:ext uri="{9D8B030D-6E8A-4147-A177-3AD203B41FA5}">
                      <a16:colId xmlns:a16="http://schemas.microsoft.com/office/drawing/2014/main" val="2248812006"/>
                    </a:ext>
                  </a:extLst>
                </a:gridCol>
                <a:gridCol w="584802">
                  <a:extLst>
                    <a:ext uri="{9D8B030D-6E8A-4147-A177-3AD203B41FA5}">
                      <a16:colId xmlns:a16="http://schemas.microsoft.com/office/drawing/2014/main" val="3327557892"/>
                    </a:ext>
                  </a:extLst>
                </a:gridCol>
                <a:gridCol w="702617">
                  <a:extLst>
                    <a:ext uri="{9D8B030D-6E8A-4147-A177-3AD203B41FA5}">
                      <a16:colId xmlns:a16="http://schemas.microsoft.com/office/drawing/2014/main" val="1185737047"/>
                    </a:ext>
                  </a:extLst>
                </a:gridCol>
                <a:gridCol w="684904">
                  <a:extLst>
                    <a:ext uri="{9D8B030D-6E8A-4147-A177-3AD203B41FA5}">
                      <a16:colId xmlns:a16="http://schemas.microsoft.com/office/drawing/2014/main" val="1082809493"/>
                    </a:ext>
                  </a:extLst>
                </a:gridCol>
                <a:gridCol w="847077">
                  <a:extLst>
                    <a:ext uri="{9D8B030D-6E8A-4147-A177-3AD203B41FA5}">
                      <a16:colId xmlns:a16="http://schemas.microsoft.com/office/drawing/2014/main" val="114372236"/>
                    </a:ext>
                  </a:extLst>
                </a:gridCol>
                <a:gridCol w="514858">
                  <a:extLst>
                    <a:ext uri="{9D8B030D-6E8A-4147-A177-3AD203B41FA5}">
                      <a16:colId xmlns:a16="http://schemas.microsoft.com/office/drawing/2014/main" val="2219269639"/>
                    </a:ext>
                  </a:extLst>
                </a:gridCol>
                <a:gridCol w="673095">
                  <a:extLst>
                    <a:ext uri="{9D8B030D-6E8A-4147-A177-3AD203B41FA5}">
                      <a16:colId xmlns:a16="http://schemas.microsoft.com/office/drawing/2014/main" val="4231866948"/>
                    </a:ext>
                  </a:extLst>
                </a:gridCol>
                <a:gridCol w="793247">
                  <a:extLst>
                    <a:ext uri="{9D8B030D-6E8A-4147-A177-3AD203B41FA5}">
                      <a16:colId xmlns:a16="http://schemas.microsoft.com/office/drawing/2014/main" val="2288475450"/>
                    </a:ext>
                  </a:extLst>
                </a:gridCol>
              </a:tblGrid>
              <a:tr h="87288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Utility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jects in Construction Queue (Solar , Hybrid and Wind)                                                                                    (100% payment ) 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jects in Construction Queue (Solar , Hybrid and Wind)                                                                                                         (25% payment ) 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jects Completed Study                                (Payment not yet due )                                                                                                       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3226026"/>
                  </a:ext>
                </a:extLst>
              </a:tr>
              <a:tr h="8188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jects started Design 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W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jects not yet in Design (on hold due to customer- waiting on submittals )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W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jects started Design 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W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jects not yet in Design        (On hold)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W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umber of Projects 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W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6256487"/>
                  </a:ext>
                </a:extLst>
              </a:tr>
              <a:tr h="2279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ational Grid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5.8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.7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9.8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3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1.9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2993454"/>
                  </a:ext>
                </a:extLst>
              </a:tr>
              <a:tr h="2279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entral Hudson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0.6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.4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7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5183338"/>
                  </a:ext>
                </a:extLst>
              </a:tr>
              <a:tr h="2279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&amp;R 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.7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1.6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5426223"/>
                  </a:ext>
                </a:extLst>
              </a:tr>
              <a:tr h="2279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nEd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85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87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378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9425231"/>
                  </a:ext>
                </a:extLst>
              </a:tr>
              <a:tr h="2279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RG&amp;E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7.88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.765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.3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.77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3826877"/>
                  </a:ext>
                </a:extLst>
              </a:tr>
              <a:tr h="22793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YSEG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5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6.6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.62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.22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1.66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13650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9043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G Blank">
  <a:themeElements>
    <a:clrScheme name="NG 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NG Blank">
  <a:themeElements>
    <a:clrScheme name="NG 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NG Blank">
  <a:themeElements>
    <a:clrScheme name="NG 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NG Blank">
  <a:themeElements>
    <a:clrScheme name="NG 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NG 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96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96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National Grid">
  <a:themeElements>
    <a:clrScheme name="NG internal consulting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DDA"/>
      </a:accent1>
      <a:accent2>
        <a:srgbClr val="6BA03A"/>
      </a:accent2>
      <a:accent3>
        <a:srgbClr val="FE0C01"/>
      </a:accent3>
      <a:accent4>
        <a:srgbClr val="FFBF17"/>
      </a:accent4>
      <a:accent5>
        <a:srgbClr val="1E1160"/>
      </a:accent5>
      <a:accent6>
        <a:srgbClr val="0079C1"/>
      </a:accent6>
      <a:hlink>
        <a:srgbClr val="FF7800"/>
      </a:hlink>
      <a:folHlink>
        <a:srgbClr val="0079C1"/>
      </a:folHlink>
    </a:clrScheme>
    <a:fontScheme name="National Grid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FF99FF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FF99FF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National Gr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757</TotalTime>
  <Words>155</Words>
  <Application>Microsoft Office PowerPoint</Application>
  <PresentationFormat>On-screen Show (4:3)</PresentationFormat>
  <Paragraphs>8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7" baseType="lpstr">
      <vt:lpstr>ＭＳ Ｐゴシック</vt:lpstr>
      <vt:lpstr>Arial</vt:lpstr>
      <vt:lpstr>Calibri</vt:lpstr>
      <vt:lpstr>Century Gothic Bold</vt:lpstr>
      <vt:lpstr>Times New Roman</vt:lpstr>
      <vt:lpstr>Vrinda</vt:lpstr>
      <vt:lpstr>Wingdings</vt:lpstr>
      <vt:lpstr>Wingdings 2</vt:lpstr>
      <vt:lpstr>NG Blank</vt:lpstr>
      <vt:lpstr>1_NG Blank</vt:lpstr>
      <vt:lpstr>2_NG Blank</vt:lpstr>
      <vt:lpstr>3_NG Blank</vt:lpstr>
      <vt:lpstr>4_NG Blank</vt:lpstr>
      <vt:lpstr>2_National Grid</vt:lpstr>
      <vt:lpstr>Microsoft PowerPoint 97-2003 Presentation</vt:lpstr>
      <vt:lpstr>think-cell Slide</vt:lpstr>
      <vt:lpstr>Construction Queue  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NY Canton Solar Installer Workshop</dc:title>
  <dc:creator>National Grid</dc:creator>
  <cp:lastModifiedBy>Grisaru, Elizabeth (DPS)</cp:lastModifiedBy>
  <cp:revision>157</cp:revision>
  <cp:lastPrinted>2018-06-25T19:19:38Z</cp:lastPrinted>
  <dcterms:created xsi:type="dcterms:W3CDTF">2016-02-10T18:30:38Z</dcterms:created>
  <dcterms:modified xsi:type="dcterms:W3CDTF">2019-04-23T13:47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3" name="_NewReviewCycle">
    <vt:lpwstr/>
  </property>
</Properties>
</file>